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1661" r:id="rId2"/>
    <p:sldId id="257" r:id="rId3"/>
    <p:sldId id="258" r:id="rId4"/>
    <p:sldId id="1713" r:id="rId5"/>
    <p:sldId id="1716" r:id="rId6"/>
    <p:sldId id="1715" r:id="rId7"/>
    <p:sldId id="1717" r:id="rId8"/>
    <p:sldId id="1718" r:id="rId9"/>
    <p:sldId id="1719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E28D"/>
    <a:srgbClr val="4E95D9"/>
    <a:srgbClr val="F2CFEE"/>
    <a:srgbClr val="DCEAF7"/>
    <a:srgbClr val="E3EAF1"/>
    <a:srgbClr val="A6CAEC"/>
    <a:srgbClr val="433B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52" d="100"/>
          <a:sy n="52" d="100"/>
        </p:scale>
        <p:origin x="84" y="1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89426-6A16-4EAA-82E0-236F46687845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7E0FE7-76AC-4616-9190-85E2D8DA2E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063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79C831-25D6-44EC-814F-AB09CD1A751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06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D38FE-C9EF-2025-183D-B2FD5B04B1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9AB850-074D-2E32-851E-BB2DC5EFB4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BFABF4-434E-5F00-9953-55EF39A0D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3BCB09-B6D7-4797-1E28-7B866923C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7B48BC-B0E9-303C-C098-FC1B23E9F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969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FB1A5-A76B-6B06-06F7-A33940940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0E8C8B-2C2E-1337-FD94-DD071312C5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C0210B-7FCC-34B9-4D8C-729BE8E74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1218C0-8F4F-3614-C684-1D72752C3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48D9F6-4B94-C239-A2E8-CA13B0CAC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672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8BF9018-1A92-C7CD-BCF4-8D25017E63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E46CF06-6D86-E189-B291-4DEB37C2E2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79D903-6E17-F0D1-584E-DDFC9CFBB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8E3EFA-878D-6E6E-4D3C-2A68510B8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07B169-A471-DE9C-A781-39B58D566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4736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Thank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D53E8CF-6CDE-9582-6618-75FAEA2DCD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863" b="10638"/>
          <a:stretch/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1F91D5CE-B8B9-9028-8FE2-6F7E0F83B8FB}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30C2619-A96B-3D1B-1426-52242E70EC2A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6878837 w 12192000"/>
                <a:gd name="connsiteY0" fmla="*/ 6411955 h 6858000"/>
                <a:gd name="connsiteX1" fmla="*/ 6961647 w 12192000"/>
                <a:gd name="connsiteY1" fmla="*/ 6858000 h 6858000"/>
                <a:gd name="connsiteX2" fmla="*/ 6684236 w 12192000"/>
                <a:gd name="connsiteY2" fmla="*/ 6858000 h 6858000"/>
                <a:gd name="connsiteX3" fmla="*/ 4649092 w 12192000"/>
                <a:gd name="connsiteY3" fmla="*/ 6411955 h 6858000"/>
                <a:gd name="connsiteX4" fmla="*/ 4844666 w 12192000"/>
                <a:gd name="connsiteY4" fmla="*/ 6858000 h 6858000"/>
                <a:gd name="connsiteX5" fmla="*/ 4565699 w 12192000"/>
                <a:gd name="connsiteY5" fmla="*/ 6858000 h 6858000"/>
                <a:gd name="connsiteX6" fmla="*/ 11002386 w 12192000"/>
                <a:gd name="connsiteY6" fmla="*/ 5501264 h 6858000"/>
                <a:gd name="connsiteX7" fmla="*/ 12192000 w 12192000"/>
                <a:gd name="connsiteY7" fmla="*/ 5501264 h 6858000"/>
                <a:gd name="connsiteX8" fmla="*/ 12192000 w 12192000"/>
                <a:gd name="connsiteY8" fmla="*/ 6858000 h 6858000"/>
                <a:gd name="connsiteX9" fmla="*/ 11002386 w 12192000"/>
                <a:gd name="connsiteY9" fmla="*/ 6858000 h 6858000"/>
                <a:gd name="connsiteX10" fmla="*/ 0 w 12192000"/>
                <a:gd name="connsiteY10" fmla="*/ 0 h 6858000"/>
                <a:gd name="connsiteX11" fmla="*/ 12192000 w 12192000"/>
                <a:gd name="connsiteY11" fmla="*/ 0 h 6858000"/>
                <a:gd name="connsiteX12" fmla="*/ 12192000 w 12192000"/>
                <a:gd name="connsiteY12" fmla="*/ 4567981 h 6858000"/>
                <a:gd name="connsiteX13" fmla="*/ 9349503 w 12192000"/>
                <a:gd name="connsiteY13" fmla="*/ 4567981 h 6858000"/>
                <a:gd name="connsiteX14" fmla="*/ 9349503 w 12192000"/>
                <a:gd name="connsiteY14" fmla="*/ 5501264 h 6858000"/>
                <a:gd name="connsiteX15" fmla="*/ 9815722 w 12192000"/>
                <a:gd name="connsiteY15" fmla="*/ 5501264 h 6858000"/>
                <a:gd name="connsiteX16" fmla="*/ 9815722 w 12192000"/>
                <a:gd name="connsiteY16" fmla="*/ 6858000 h 6858000"/>
                <a:gd name="connsiteX17" fmla="*/ 9247940 w 12192000"/>
                <a:gd name="connsiteY17" fmla="*/ 6858000 h 6858000"/>
                <a:gd name="connsiteX18" fmla="*/ 9247940 w 12192000"/>
                <a:gd name="connsiteY18" fmla="*/ 4567981 h 6858000"/>
                <a:gd name="connsiteX19" fmla="*/ 8117865 w 12192000"/>
                <a:gd name="connsiteY19" fmla="*/ 4567981 h 6858000"/>
                <a:gd name="connsiteX20" fmla="*/ 8117865 w 12192000"/>
                <a:gd name="connsiteY20" fmla="*/ 6858000 h 6858000"/>
                <a:gd name="connsiteX21" fmla="*/ 8016302 w 12192000"/>
                <a:gd name="connsiteY21" fmla="*/ 6858000 h 6858000"/>
                <a:gd name="connsiteX22" fmla="*/ 8016302 w 12192000"/>
                <a:gd name="connsiteY22" fmla="*/ 6458407 h 6858000"/>
                <a:gd name="connsiteX23" fmla="*/ 8001311 w 12192000"/>
                <a:gd name="connsiteY23" fmla="*/ 6377326 h 6858000"/>
                <a:gd name="connsiteX24" fmla="*/ 7664526 w 12192000"/>
                <a:gd name="connsiteY24" fmla="*/ 4567981 h 6858000"/>
                <a:gd name="connsiteX25" fmla="*/ 6532973 w 12192000"/>
                <a:gd name="connsiteY25" fmla="*/ 4567981 h 6858000"/>
                <a:gd name="connsiteX26" fmla="*/ 5766076 w 12192000"/>
                <a:gd name="connsiteY26" fmla="*/ 6404564 h 6858000"/>
                <a:gd name="connsiteX27" fmla="*/ 4999179 w 12192000"/>
                <a:gd name="connsiteY27" fmla="*/ 4567981 h 6858000"/>
                <a:gd name="connsiteX28" fmla="*/ 3862136 w 12192000"/>
                <a:gd name="connsiteY28" fmla="*/ 4567981 h 6858000"/>
                <a:gd name="connsiteX29" fmla="*/ 3436386 w 12192000"/>
                <a:gd name="connsiteY29" fmla="*/ 6858000 h 6858000"/>
                <a:gd name="connsiteX30" fmla="*/ 0 w 12192000"/>
                <a:gd name="connsiteY30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192000" h="6858000">
                  <a:moveTo>
                    <a:pt x="6878837" y="6411955"/>
                  </a:moveTo>
                  <a:lnTo>
                    <a:pt x="6961647" y="6858000"/>
                  </a:lnTo>
                  <a:lnTo>
                    <a:pt x="6684236" y="6858000"/>
                  </a:lnTo>
                  <a:close/>
                  <a:moveTo>
                    <a:pt x="4649092" y="6411955"/>
                  </a:moveTo>
                  <a:lnTo>
                    <a:pt x="4844666" y="6858000"/>
                  </a:lnTo>
                  <a:lnTo>
                    <a:pt x="4565699" y="6858000"/>
                  </a:lnTo>
                  <a:close/>
                  <a:moveTo>
                    <a:pt x="11002386" y="5501264"/>
                  </a:moveTo>
                  <a:lnTo>
                    <a:pt x="12192000" y="5501264"/>
                  </a:lnTo>
                  <a:lnTo>
                    <a:pt x="12192000" y="6858000"/>
                  </a:lnTo>
                  <a:lnTo>
                    <a:pt x="11002386" y="6858000"/>
                  </a:lnTo>
                  <a:close/>
                  <a:moveTo>
                    <a:pt x="0" y="0"/>
                  </a:moveTo>
                  <a:lnTo>
                    <a:pt x="12192000" y="0"/>
                  </a:lnTo>
                  <a:lnTo>
                    <a:pt x="12192000" y="4567981"/>
                  </a:lnTo>
                  <a:lnTo>
                    <a:pt x="9349503" y="4567981"/>
                  </a:lnTo>
                  <a:lnTo>
                    <a:pt x="9349503" y="5501264"/>
                  </a:lnTo>
                  <a:lnTo>
                    <a:pt x="9815722" y="5501264"/>
                  </a:lnTo>
                  <a:lnTo>
                    <a:pt x="9815722" y="6858000"/>
                  </a:lnTo>
                  <a:lnTo>
                    <a:pt x="9247940" y="6858000"/>
                  </a:lnTo>
                  <a:lnTo>
                    <a:pt x="9247940" y="4567981"/>
                  </a:lnTo>
                  <a:lnTo>
                    <a:pt x="8117865" y="4567981"/>
                  </a:lnTo>
                  <a:lnTo>
                    <a:pt x="8117865" y="6858000"/>
                  </a:lnTo>
                  <a:lnTo>
                    <a:pt x="8016302" y="6858000"/>
                  </a:lnTo>
                  <a:lnTo>
                    <a:pt x="8016302" y="6458407"/>
                  </a:lnTo>
                  <a:lnTo>
                    <a:pt x="8001311" y="6377326"/>
                  </a:lnTo>
                  <a:lnTo>
                    <a:pt x="7664526" y="4567981"/>
                  </a:lnTo>
                  <a:lnTo>
                    <a:pt x="6532973" y="4567981"/>
                  </a:lnTo>
                  <a:lnTo>
                    <a:pt x="5766076" y="6404564"/>
                  </a:lnTo>
                  <a:lnTo>
                    <a:pt x="4999179" y="4567981"/>
                  </a:lnTo>
                  <a:lnTo>
                    <a:pt x="3862136" y="4567981"/>
                  </a:lnTo>
                  <a:lnTo>
                    <a:pt x="3436386" y="6858000"/>
                  </a:lnTo>
                  <a:lnTo>
                    <a:pt x="0" y="6858000"/>
                  </a:lnTo>
                  <a:close/>
                </a:path>
              </a:pathLst>
            </a:custGeom>
            <a:gradFill flip="none" rotWithShape="1">
              <a:gsLst>
                <a:gs pos="64000">
                  <a:schemeClr val="bg1">
                    <a:alpha val="95000"/>
                  </a:schemeClr>
                </a:gs>
                <a:gs pos="0">
                  <a:schemeClr val="bg1">
                    <a:alpha val="57000"/>
                  </a:schemeClr>
                </a:gs>
              </a:gsLst>
              <a:lin ang="12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CA314E3-81DC-7254-19F8-C5AE864393DB}"/>
                </a:ext>
              </a:extLst>
            </p:cNvPr>
            <p:cNvSpPr/>
            <p:nvPr userDrawn="1"/>
          </p:nvSpPr>
          <p:spPr>
            <a:xfrm>
              <a:off x="8117865" y="4567981"/>
              <a:ext cx="1130075" cy="2290018"/>
            </a:xfrm>
            <a:custGeom>
              <a:avLst/>
              <a:gdLst>
                <a:gd name="connsiteX0" fmla="*/ 0 w 1130075"/>
                <a:gd name="connsiteY0" fmla="*/ 0 h 2290018"/>
                <a:gd name="connsiteX1" fmla="*/ 1130075 w 1130075"/>
                <a:gd name="connsiteY1" fmla="*/ 0 h 2290018"/>
                <a:gd name="connsiteX2" fmla="*/ 1130075 w 1130075"/>
                <a:gd name="connsiteY2" fmla="*/ 2290018 h 2290018"/>
                <a:gd name="connsiteX3" fmla="*/ 0 w 1130075"/>
                <a:gd name="connsiteY3" fmla="*/ 2290018 h 2290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0075" h="2290018">
                  <a:moveTo>
                    <a:pt x="0" y="0"/>
                  </a:moveTo>
                  <a:lnTo>
                    <a:pt x="1130075" y="0"/>
                  </a:lnTo>
                  <a:lnTo>
                    <a:pt x="1130075" y="2290018"/>
                  </a:lnTo>
                  <a:lnTo>
                    <a:pt x="0" y="2290018"/>
                  </a:lnTo>
                  <a:close/>
                </a:path>
              </a:pathLst>
            </a:custGeom>
            <a:solidFill>
              <a:schemeClr val="tx1">
                <a:alpha val="59000"/>
              </a:schemeClr>
            </a:solidFill>
            <a:ln w="211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0960103-0275-F750-D44C-45A2222F87B3}"/>
                </a:ext>
              </a:extLst>
            </p:cNvPr>
            <p:cNvSpPr/>
            <p:nvPr userDrawn="1"/>
          </p:nvSpPr>
          <p:spPr>
            <a:xfrm>
              <a:off x="9349503" y="4567982"/>
              <a:ext cx="2842496" cy="2290019"/>
            </a:xfrm>
            <a:custGeom>
              <a:avLst/>
              <a:gdLst>
                <a:gd name="connsiteX0" fmla="*/ 0 w 2842496"/>
                <a:gd name="connsiteY0" fmla="*/ 0 h 2290019"/>
                <a:gd name="connsiteX1" fmla="*/ 2842496 w 2842496"/>
                <a:gd name="connsiteY1" fmla="*/ 0 h 2290019"/>
                <a:gd name="connsiteX2" fmla="*/ 2842496 w 2842496"/>
                <a:gd name="connsiteY2" fmla="*/ 933283 h 2290019"/>
                <a:gd name="connsiteX3" fmla="*/ 1652883 w 2842496"/>
                <a:gd name="connsiteY3" fmla="*/ 933283 h 2290019"/>
                <a:gd name="connsiteX4" fmla="*/ 1652883 w 2842496"/>
                <a:gd name="connsiteY4" fmla="*/ 2290019 h 2290019"/>
                <a:gd name="connsiteX5" fmla="*/ 466219 w 2842496"/>
                <a:gd name="connsiteY5" fmla="*/ 2290019 h 2290019"/>
                <a:gd name="connsiteX6" fmla="*/ 466219 w 2842496"/>
                <a:gd name="connsiteY6" fmla="*/ 933283 h 2290019"/>
                <a:gd name="connsiteX7" fmla="*/ 0 w 2842496"/>
                <a:gd name="connsiteY7" fmla="*/ 933283 h 229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42496" h="2290019">
                  <a:moveTo>
                    <a:pt x="0" y="0"/>
                  </a:moveTo>
                  <a:lnTo>
                    <a:pt x="2842496" y="0"/>
                  </a:lnTo>
                  <a:lnTo>
                    <a:pt x="2842496" y="933283"/>
                  </a:lnTo>
                  <a:lnTo>
                    <a:pt x="1652883" y="933283"/>
                  </a:lnTo>
                  <a:lnTo>
                    <a:pt x="1652883" y="2290019"/>
                  </a:lnTo>
                  <a:lnTo>
                    <a:pt x="466219" y="2290019"/>
                  </a:lnTo>
                  <a:lnTo>
                    <a:pt x="466219" y="933283"/>
                  </a:lnTo>
                  <a:lnTo>
                    <a:pt x="0" y="933283"/>
                  </a:lnTo>
                  <a:close/>
                </a:path>
              </a:pathLst>
            </a:custGeom>
            <a:solidFill>
              <a:schemeClr val="tx1">
                <a:alpha val="59000"/>
              </a:schemeClr>
            </a:solidFill>
            <a:ln w="211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1741CC2-D4C3-7CE5-630C-A474A3BCF03E}"/>
                </a:ext>
              </a:extLst>
            </p:cNvPr>
            <p:cNvSpPr/>
            <p:nvPr/>
          </p:nvSpPr>
          <p:spPr>
            <a:xfrm>
              <a:off x="3436386" y="4567982"/>
              <a:ext cx="4579916" cy="2290019"/>
            </a:xfrm>
            <a:custGeom>
              <a:avLst/>
              <a:gdLst>
                <a:gd name="connsiteX0" fmla="*/ 425750 w 4579916"/>
                <a:gd name="connsiteY0" fmla="*/ 0 h 2290019"/>
                <a:gd name="connsiteX1" fmla="*/ 1562793 w 4579916"/>
                <a:gd name="connsiteY1" fmla="*/ 0 h 2290019"/>
                <a:gd name="connsiteX2" fmla="*/ 2329690 w 4579916"/>
                <a:gd name="connsiteY2" fmla="*/ 1836583 h 2290019"/>
                <a:gd name="connsiteX3" fmla="*/ 3096587 w 4579916"/>
                <a:gd name="connsiteY3" fmla="*/ 0 h 2290019"/>
                <a:gd name="connsiteX4" fmla="*/ 4228140 w 4579916"/>
                <a:gd name="connsiteY4" fmla="*/ 0 h 2290019"/>
                <a:gd name="connsiteX5" fmla="*/ 4564925 w 4579916"/>
                <a:gd name="connsiteY5" fmla="*/ 1809345 h 2290019"/>
                <a:gd name="connsiteX6" fmla="*/ 4579916 w 4579916"/>
                <a:gd name="connsiteY6" fmla="*/ 1890426 h 2290019"/>
                <a:gd name="connsiteX7" fmla="*/ 4579916 w 4579916"/>
                <a:gd name="connsiteY7" fmla="*/ 2290019 h 2290019"/>
                <a:gd name="connsiteX8" fmla="*/ 3525261 w 4579916"/>
                <a:gd name="connsiteY8" fmla="*/ 2290019 h 2290019"/>
                <a:gd name="connsiteX9" fmla="*/ 3442451 w 4579916"/>
                <a:gd name="connsiteY9" fmla="*/ 1843974 h 2290019"/>
                <a:gd name="connsiteX10" fmla="*/ 3247851 w 4579916"/>
                <a:gd name="connsiteY10" fmla="*/ 2290019 h 2290019"/>
                <a:gd name="connsiteX11" fmla="*/ 1408280 w 4579916"/>
                <a:gd name="connsiteY11" fmla="*/ 2290019 h 2290019"/>
                <a:gd name="connsiteX12" fmla="*/ 1212706 w 4579916"/>
                <a:gd name="connsiteY12" fmla="*/ 1843974 h 2290019"/>
                <a:gd name="connsiteX13" fmla="*/ 1129313 w 4579916"/>
                <a:gd name="connsiteY13" fmla="*/ 2290019 h 2290019"/>
                <a:gd name="connsiteX14" fmla="*/ 0 w 4579916"/>
                <a:gd name="connsiteY14" fmla="*/ 2290019 h 229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79916" h="2290019">
                  <a:moveTo>
                    <a:pt x="425750" y="0"/>
                  </a:moveTo>
                  <a:lnTo>
                    <a:pt x="1562793" y="0"/>
                  </a:lnTo>
                  <a:lnTo>
                    <a:pt x="2329690" y="1836583"/>
                  </a:lnTo>
                  <a:lnTo>
                    <a:pt x="3096587" y="0"/>
                  </a:lnTo>
                  <a:lnTo>
                    <a:pt x="4228140" y="0"/>
                  </a:lnTo>
                  <a:lnTo>
                    <a:pt x="4564925" y="1809345"/>
                  </a:lnTo>
                  <a:lnTo>
                    <a:pt x="4579916" y="1890426"/>
                  </a:lnTo>
                  <a:lnTo>
                    <a:pt x="4579916" y="2290019"/>
                  </a:lnTo>
                  <a:lnTo>
                    <a:pt x="3525261" y="2290019"/>
                  </a:lnTo>
                  <a:lnTo>
                    <a:pt x="3442451" y="1843974"/>
                  </a:lnTo>
                  <a:lnTo>
                    <a:pt x="3247851" y="2290019"/>
                  </a:lnTo>
                  <a:lnTo>
                    <a:pt x="1408280" y="2290019"/>
                  </a:lnTo>
                  <a:lnTo>
                    <a:pt x="1212706" y="1843974"/>
                  </a:lnTo>
                  <a:lnTo>
                    <a:pt x="1129313" y="2290019"/>
                  </a:lnTo>
                  <a:lnTo>
                    <a:pt x="0" y="2290019"/>
                  </a:lnTo>
                  <a:close/>
                </a:path>
              </a:pathLst>
            </a:custGeom>
            <a:solidFill>
              <a:schemeClr val="tx1">
                <a:alpha val="59000"/>
              </a:schemeClr>
            </a:solidFill>
            <a:ln w="211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AB82C41B-5C95-3414-E193-F79F47EAAD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5798" y="6118859"/>
            <a:ext cx="983672" cy="57377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AECBC0C-EA2E-5A1F-9C2A-4F81259D22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5800" y="1071272"/>
            <a:ext cx="8054975" cy="1531200"/>
          </a:xfrm>
        </p:spPr>
        <p:txBody>
          <a:bodyPr lIns="0" anchor="b">
            <a:normAutofit/>
          </a:bodyPr>
          <a:lstStyle>
            <a:lvl1pPr algn="l">
              <a:defRPr sz="4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FDE34AE-FEE0-11E9-2732-4FD831D6ED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799" y="2872468"/>
            <a:ext cx="8054975" cy="879475"/>
          </a:xfrm>
        </p:spPr>
        <p:txBody>
          <a:bodyPr lIns="0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4529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93B55A-D847-6D97-84EE-79EEE78C8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2CDA4-3B8C-A5A8-84AA-4AF91177B2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4FDDEA-CCF4-B1E2-C615-5665A1FF6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98F2A-2E68-27DB-0FB7-A291CA945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75B4F3-B3B3-386B-6FAC-4B72520E2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496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DDEF1-FA55-CB76-779E-447A485CE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BFDDC-7BD7-5DC5-9961-64C2755086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3314FD-186D-4DC8-317E-A44081329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F57AC7-5ADC-AC19-C087-6952FA4A2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A148A-78D7-12BC-E5A5-6996FFEB0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0440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0FEE1-EA16-FE3D-09B7-6583B0EAC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D8BAA6-9ED1-4B17-BB74-E7640F9504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F0DD03-FFCE-3686-0E63-550AFD055C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567DF9-AE3B-24A4-9B28-4320BEA60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7B219D-4E2D-27A8-F51F-C4ACCAE13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028BDD-4BF2-62AF-B80A-53A7A8360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592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38F721-63CD-6A42-37BB-C49EB1D04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99A95D-8652-4895-2E28-E0E0480513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A4F414-F613-1CE7-4CFB-E5B7D41D2A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F2B4A-4B83-1114-FB52-BCAD0ABE83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1D07B4-1053-4C8D-2ED4-28D27C2085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25D27E-EC88-8BA3-8D57-7678E2E78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C81E913-8BCC-4065-896E-C0D27C4EC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272AA6-E5B8-968D-F2B6-5A1DD6E8B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5004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7BCF0-5ADE-2369-2C28-CF0A9D22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447A4C-32FB-13EB-F562-7F8D29A34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BE0C8B-CC33-2EAC-D8AF-033A05F94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9AA900-F1FB-098C-FE43-A77E2A615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1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A9FD81-3CE1-B827-EDDF-7C9F8EBB8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A38A8-E3BF-46BF-9987-94786B749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55525-39A3-812B-4BEF-587C774BB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76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D4106-DAE8-2E89-DDC0-34AD5D580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979CB-1192-7779-B50D-F0827B7BD2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513B7B-5053-B0D9-6C96-606C8E5A3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D36615-56D0-6A08-1D3A-76301A12F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9B64E1-1F4A-5FD5-69EC-666C3279A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873F5C-BDAE-41CC-B7F2-47284FDB9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982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F26983-7317-FD15-F8B2-3436BEBB3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9901D0-94B9-B724-EE1D-F81326D104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9C8460-00A3-3586-0667-55FFADD1E0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035D92-FEE3-9041-489A-1D2E39093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F96550-277C-E9DE-6187-7945405BE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01C9C5-4640-2B28-A4C8-CCFF74AFF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121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387492E-F9FC-6939-421A-CFB4D86FD0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3139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1" imgH="473" progId="TCLayout.ActiveDocument.1">
                  <p:embed/>
                </p:oleObj>
              </mc:Choice>
              <mc:Fallback>
                <p:oleObj name="think-cell Slide" r:id="rId15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CC96B8-A3D5-A971-3751-EBC7795E6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DB9ED6-C070-A972-E2CD-C5B3330288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4AF96-EBAB-8CFF-0325-6CF52D61BE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D359CAC-DB86-45C3-8703-CEA1F29CABFA}" type="datetimeFigureOut">
              <a:rPr lang="en-US" smtClean="0"/>
              <a:t>4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A6A716-B9E6-1A9A-E2FA-8989344047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8342DC-C3D2-BD60-8C94-540D4152C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EC726C0-F511-4BF8-810C-AEAED0D4EF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943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0DFD1F5-5693-C7E3-C5B6-236A8170DD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420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3" progId="TCLayout.ActiveDocument.1">
                  <p:embed/>
                </p:oleObj>
              </mc:Choice>
              <mc:Fallback>
                <p:oleObj name="think-cell Slide" r:id="rId4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E0263D-1D15-F5DA-90A6-6F4946944D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071272"/>
            <a:ext cx="9218054" cy="1531200"/>
          </a:xfrm>
        </p:spPr>
        <p:txBody>
          <a:bodyPr vert="horz">
            <a:normAutofit/>
          </a:bodyPr>
          <a:lstStyle/>
          <a:p>
            <a:r>
              <a:rPr lang="en-US" dirty="0"/>
              <a:t>Wildfire-lab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F514CC-A0AD-96C3-2294-3B6FAE51053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it-IT" sz="2400" dirty="0"/>
              <a:t>Benjamin Ri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62795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E3F84F5-9C5D-ADA8-A847-11F2F68087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01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E85885-524C-3D44-2273-93BF57E91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oogle: predicting next-day fire mask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76438C-4D2C-901F-791F-2AEEEF8AAB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2888" y="2607658"/>
            <a:ext cx="8204622" cy="356888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52405AC-3316-8EC9-B6CE-290C60F17C3C}"/>
              </a:ext>
            </a:extLst>
          </p:cNvPr>
          <p:cNvSpPr txBox="1"/>
          <p:nvPr/>
        </p:nvSpPr>
        <p:spPr>
          <a:xfrm>
            <a:off x="838200" y="1407329"/>
            <a:ext cx="82046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ultivariate data set of historical wildfires aggregating nearly a decade of remote sensing data across the United States</a:t>
            </a:r>
          </a:p>
          <a:p>
            <a:endParaRPr lang="en-US" dirty="0"/>
          </a:p>
          <a:p>
            <a:r>
              <a:rPr lang="en-US" dirty="0"/>
              <a:t>Lead time = 1 day</a:t>
            </a:r>
          </a:p>
        </p:txBody>
      </p:sp>
    </p:spTree>
    <p:extLst>
      <p:ext uri="{BB962C8B-B14F-4D97-AF65-F5344CB8AC3E}">
        <p14:creationId xmlns:p14="http://schemas.microsoft.com/office/powerpoint/2010/main" val="3888267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7983A526-3BE9-9720-1D59-0AFADE8A63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3522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83A526-3BE9-9720-1D59-0AFADE8A6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30099F1-B1D5-B382-2810-87F2F5FD2A17}"/>
              </a:ext>
            </a:extLst>
          </p:cNvPr>
          <p:cNvCxnSpPr>
            <a:cxnSpLocks/>
          </p:cNvCxnSpPr>
          <p:nvPr/>
        </p:nvCxnSpPr>
        <p:spPr>
          <a:xfrm flipV="1">
            <a:off x="1355096" y="4938470"/>
            <a:ext cx="9529214" cy="7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D9DE412-DDC1-1350-74A4-EACA8DFF41C7}"/>
              </a:ext>
            </a:extLst>
          </p:cNvPr>
          <p:cNvSpPr txBox="1"/>
          <p:nvPr/>
        </p:nvSpPr>
        <p:spPr>
          <a:xfrm>
            <a:off x="10970956" y="4769193"/>
            <a:ext cx="13542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y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45BB37-DF35-BE9D-573E-17FD4B152B3D}"/>
              </a:ext>
            </a:extLst>
          </p:cNvPr>
          <p:cNvCxnSpPr>
            <a:cxnSpLocks/>
          </p:cNvCxnSpPr>
          <p:nvPr/>
        </p:nvCxnSpPr>
        <p:spPr>
          <a:xfrm>
            <a:off x="1510610" y="4893494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9A2C783-904B-51E6-B178-442273EE240C}"/>
              </a:ext>
            </a:extLst>
          </p:cNvPr>
          <p:cNvCxnSpPr>
            <a:cxnSpLocks/>
          </p:cNvCxnSpPr>
          <p:nvPr/>
        </p:nvCxnSpPr>
        <p:spPr>
          <a:xfrm>
            <a:off x="1882051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C8FFAA1-9B6B-6606-60DF-014671B840E6}"/>
              </a:ext>
            </a:extLst>
          </p:cNvPr>
          <p:cNvCxnSpPr>
            <a:cxnSpLocks/>
          </p:cNvCxnSpPr>
          <p:nvPr/>
        </p:nvCxnSpPr>
        <p:spPr>
          <a:xfrm>
            <a:off x="2229887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2B5497E-0B30-2621-C504-942B24E66999}"/>
              </a:ext>
            </a:extLst>
          </p:cNvPr>
          <p:cNvCxnSpPr>
            <a:cxnSpLocks/>
          </p:cNvCxnSpPr>
          <p:nvPr/>
        </p:nvCxnSpPr>
        <p:spPr>
          <a:xfrm>
            <a:off x="2577723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3818943-D800-B6AB-3220-6C453E8AF9FE}"/>
              </a:ext>
            </a:extLst>
          </p:cNvPr>
          <p:cNvCxnSpPr>
            <a:cxnSpLocks/>
          </p:cNvCxnSpPr>
          <p:nvPr/>
        </p:nvCxnSpPr>
        <p:spPr>
          <a:xfrm>
            <a:off x="2925559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BD0539-E0DF-88A8-6074-23E8EF5A2F12}"/>
              </a:ext>
            </a:extLst>
          </p:cNvPr>
          <p:cNvCxnSpPr>
            <a:cxnSpLocks/>
          </p:cNvCxnSpPr>
          <p:nvPr/>
        </p:nvCxnSpPr>
        <p:spPr>
          <a:xfrm>
            <a:off x="3621231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A3EAC71-2F60-B51B-1165-812C9A23C899}"/>
              </a:ext>
            </a:extLst>
          </p:cNvPr>
          <p:cNvCxnSpPr>
            <a:cxnSpLocks/>
          </p:cNvCxnSpPr>
          <p:nvPr/>
        </p:nvCxnSpPr>
        <p:spPr>
          <a:xfrm>
            <a:off x="3969067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206BA0D-4C51-5998-C896-02BA74AEB268}"/>
              </a:ext>
            </a:extLst>
          </p:cNvPr>
          <p:cNvCxnSpPr>
            <a:cxnSpLocks/>
          </p:cNvCxnSpPr>
          <p:nvPr/>
        </p:nvCxnSpPr>
        <p:spPr>
          <a:xfrm>
            <a:off x="4316903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C6B2D62-AB95-86C9-FDBE-82139D91F3B9}"/>
              </a:ext>
            </a:extLst>
          </p:cNvPr>
          <p:cNvCxnSpPr>
            <a:cxnSpLocks/>
          </p:cNvCxnSpPr>
          <p:nvPr/>
        </p:nvCxnSpPr>
        <p:spPr>
          <a:xfrm>
            <a:off x="4664739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874B8D3-70AD-6824-AE5F-76A8E9F7A803}"/>
              </a:ext>
            </a:extLst>
          </p:cNvPr>
          <p:cNvCxnSpPr>
            <a:cxnSpLocks/>
          </p:cNvCxnSpPr>
          <p:nvPr/>
        </p:nvCxnSpPr>
        <p:spPr>
          <a:xfrm>
            <a:off x="5012575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44B712-C174-53D6-C4E8-766AAC63455B}"/>
              </a:ext>
            </a:extLst>
          </p:cNvPr>
          <p:cNvCxnSpPr>
            <a:cxnSpLocks/>
          </p:cNvCxnSpPr>
          <p:nvPr/>
        </p:nvCxnSpPr>
        <p:spPr>
          <a:xfrm>
            <a:off x="5360411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8969F0E-1855-A7A5-0BFA-8FE9A1C49C41}"/>
              </a:ext>
            </a:extLst>
          </p:cNvPr>
          <p:cNvCxnSpPr>
            <a:cxnSpLocks/>
          </p:cNvCxnSpPr>
          <p:nvPr/>
        </p:nvCxnSpPr>
        <p:spPr>
          <a:xfrm>
            <a:off x="5708247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9EA00BF-43C6-B2C2-73BD-ABB333C416D2}"/>
              </a:ext>
            </a:extLst>
          </p:cNvPr>
          <p:cNvCxnSpPr>
            <a:cxnSpLocks/>
          </p:cNvCxnSpPr>
          <p:nvPr/>
        </p:nvCxnSpPr>
        <p:spPr>
          <a:xfrm>
            <a:off x="6056083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4D7D2DD-DD73-A575-33D9-ABC6CB72DF63}"/>
              </a:ext>
            </a:extLst>
          </p:cNvPr>
          <p:cNvCxnSpPr>
            <a:cxnSpLocks/>
          </p:cNvCxnSpPr>
          <p:nvPr/>
        </p:nvCxnSpPr>
        <p:spPr>
          <a:xfrm>
            <a:off x="6403919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3D6C654-22FC-39AA-61F1-EE45489E7456}"/>
              </a:ext>
            </a:extLst>
          </p:cNvPr>
          <p:cNvCxnSpPr>
            <a:cxnSpLocks/>
          </p:cNvCxnSpPr>
          <p:nvPr/>
        </p:nvCxnSpPr>
        <p:spPr>
          <a:xfrm>
            <a:off x="7099591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2E9322-FB9B-74AB-4CE3-4160676002C7}"/>
              </a:ext>
            </a:extLst>
          </p:cNvPr>
          <p:cNvCxnSpPr>
            <a:cxnSpLocks/>
          </p:cNvCxnSpPr>
          <p:nvPr/>
        </p:nvCxnSpPr>
        <p:spPr>
          <a:xfrm>
            <a:off x="7795263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3C5F8CD-4F28-60AF-33BE-DD9A3CA38074}"/>
              </a:ext>
            </a:extLst>
          </p:cNvPr>
          <p:cNvCxnSpPr>
            <a:cxnSpLocks/>
          </p:cNvCxnSpPr>
          <p:nvPr/>
        </p:nvCxnSpPr>
        <p:spPr>
          <a:xfrm>
            <a:off x="6751755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E120677-6ACA-707D-A23B-AF560F5D153F}"/>
              </a:ext>
            </a:extLst>
          </p:cNvPr>
          <p:cNvCxnSpPr>
            <a:cxnSpLocks/>
          </p:cNvCxnSpPr>
          <p:nvPr/>
        </p:nvCxnSpPr>
        <p:spPr>
          <a:xfrm>
            <a:off x="7447427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9773F55-B4A8-698B-81B2-61F2B352A15F}"/>
              </a:ext>
            </a:extLst>
          </p:cNvPr>
          <p:cNvCxnSpPr>
            <a:cxnSpLocks/>
          </p:cNvCxnSpPr>
          <p:nvPr/>
        </p:nvCxnSpPr>
        <p:spPr>
          <a:xfrm>
            <a:off x="8143099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C434938-2CC4-F662-D65D-9F14FB569ED8}"/>
              </a:ext>
            </a:extLst>
          </p:cNvPr>
          <p:cNvCxnSpPr>
            <a:cxnSpLocks/>
          </p:cNvCxnSpPr>
          <p:nvPr/>
        </p:nvCxnSpPr>
        <p:spPr>
          <a:xfrm>
            <a:off x="8490935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9C4F256-0D0A-E061-7AD9-4147DC105F0C}"/>
              </a:ext>
            </a:extLst>
          </p:cNvPr>
          <p:cNvCxnSpPr>
            <a:cxnSpLocks/>
          </p:cNvCxnSpPr>
          <p:nvPr/>
        </p:nvCxnSpPr>
        <p:spPr>
          <a:xfrm>
            <a:off x="8838771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AFCD4EC-7F06-2CDA-F6BA-010D9999CB48}"/>
              </a:ext>
            </a:extLst>
          </p:cNvPr>
          <p:cNvCxnSpPr>
            <a:cxnSpLocks/>
          </p:cNvCxnSpPr>
          <p:nvPr/>
        </p:nvCxnSpPr>
        <p:spPr>
          <a:xfrm>
            <a:off x="9186607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37CB073-754A-94FF-0263-08458935DF36}"/>
              </a:ext>
            </a:extLst>
          </p:cNvPr>
          <p:cNvCxnSpPr>
            <a:cxnSpLocks/>
          </p:cNvCxnSpPr>
          <p:nvPr/>
        </p:nvCxnSpPr>
        <p:spPr>
          <a:xfrm>
            <a:off x="9534443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D5C89DE-3830-8AEF-2D12-16C916DCFC3B}"/>
              </a:ext>
            </a:extLst>
          </p:cNvPr>
          <p:cNvCxnSpPr>
            <a:cxnSpLocks/>
          </p:cNvCxnSpPr>
          <p:nvPr/>
        </p:nvCxnSpPr>
        <p:spPr>
          <a:xfrm>
            <a:off x="10230115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40DFD5F-7F49-ACA0-ADF7-D15C9D5BD81A}"/>
              </a:ext>
            </a:extLst>
          </p:cNvPr>
          <p:cNvCxnSpPr>
            <a:cxnSpLocks/>
          </p:cNvCxnSpPr>
          <p:nvPr/>
        </p:nvCxnSpPr>
        <p:spPr>
          <a:xfrm>
            <a:off x="9882279" y="4896242"/>
            <a:ext cx="0" cy="914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65F646F-691E-C39D-AA8F-1A4B0293F70C}"/>
              </a:ext>
            </a:extLst>
          </p:cNvPr>
          <p:cNvSpPr txBox="1"/>
          <p:nvPr/>
        </p:nvSpPr>
        <p:spPr>
          <a:xfrm>
            <a:off x="2229887" y="5352521"/>
            <a:ext cx="21297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C00000"/>
                </a:solidFill>
              </a:rPr>
              <a:t>First operational </a:t>
            </a:r>
          </a:p>
          <a:p>
            <a:pPr algn="ctr"/>
            <a:r>
              <a:rPr lang="en-US" sz="1400" dirty="0">
                <a:solidFill>
                  <a:srgbClr val="C00000"/>
                </a:solidFill>
              </a:rPr>
              <a:t>report (in SIT209)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4EB1FD7-906E-BA29-9B1A-019FC740DB76}"/>
              </a:ext>
            </a:extLst>
          </p:cNvPr>
          <p:cNvCxnSpPr>
            <a:cxnSpLocks/>
          </p:cNvCxnSpPr>
          <p:nvPr/>
        </p:nvCxnSpPr>
        <p:spPr>
          <a:xfrm>
            <a:off x="3273395" y="4798422"/>
            <a:ext cx="0" cy="3090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6A5E720-2354-A7FF-C2A0-F501382079A3}"/>
              </a:ext>
            </a:extLst>
          </p:cNvPr>
          <p:cNvSpPr txBox="1"/>
          <p:nvPr/>
        </p:nvSpPr>
        <p:spPr>
          <a:xfrm>
            <a:off x="1720979" y="5471587"/>
            <a:ext cx="4335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5-day lag 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8B9BF167-BB96-C9B4-8589-383756196B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6370" y="5068636"/>
            <a:ext cx="9001387" cy="13097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34CD3D1C-F4D3-9D2A-F4B7-E83DCA1BD98E}"/>
              </a:ext>
            </a:extLst>
          </p:cNvPr>
          <p:cNvSpPr txBox="1"/>
          <p:nvPr/>
        </p:nvSpPr>
        <p:spPr>
          <a:xfrm>
            <a:off x="3123258" y="5082412"/>
            <a:ext cx="32987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C00000"/>
                </a:solidFill>
              </a:rPr>
              <a:t>0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E274439-A00E-DE29-0D3D-5CB1A8E122AA}"/>
              </a:ext>
            </a:extLst>
          </p:cNvPr>
          <p:cNvSpPr txBox="1"/>
          <p:nvPr/>
        </p:nvSpPr>
        <p:spPr>
          <a:xfrm>
            <a:off x="10070537" y="4985022"/>
            <a:ext cx="46634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dirty="0"/>
              <a:t>20</a:t>
            </a:r>
            <a:endParaRPr lang="en-US" sz="12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00B2F20-8EE0-263D-3976-2CD4D9628C64}"/>
              </a:ext>
            </a:extLst>
          </p:cNvPr>
          <p:cNvSpPr txBox="1"/>
          <p:nvPr/>
        </p:nvSpPr>
        <p:spPr>
          <a:xfrm>
            <a:off x="1358346" y="5044744"/>
            <a:ext cx="41333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dirty="0"/>
              <a:t>-5</a:t>
            </a:r>
            <a:endParaRPr lang="en-US" sz="1400" dirty="0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E6C0D83F-36FA-5056-60E0-1FCEEB38E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835" y="499272"/>
            <a:ext cx="10515600" cy="676386"/>
          </a:xfrm>
        </p:spPr>
        <p:txBody>
          <a:bodyPr vert="horz">
            <a:normAutofit/>
          </a:bodyPr>
          <a:lstStyle/>
          <a:p>
            <a:r>
              <a:rPr lang="fr-FR" sz="32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atellite </a:t>
            </a:r>
            <a:r>
              <a:rPr lang="en-US" sz="32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ather</a:t>
            </a:r>
            <a:r>
              <a:rPr lang="fr-FR" sz="32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Data Extraction</a:t>
            </a:r>
            <a:endParaRPr lang="en-US" sz="3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5FE7F4D-B25C-9628-486A-C26E4C515BD8}"/>
              </a:ext>
            </a:extLst>
          </p:cNvPr>
          <p:cNvSpPr txBox="1"/>
          <p:nvPr/>
        </p:nvSpPr>
        <p:spPr>
          <a:xfrm>
            <a:off x="165172" y="2148090"/>
            <a:ext cx="12538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Precipitation </a:t>
            </a:r>
            <a:r>
              <a:rPr lang="en-US" sz="900" dirty="0"/>
              <a:t>(mm)</a:t>
            </a:r>
            <a:endParaRPr lang="fr-FR" sz="1100" dirty="0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311BFD6-718D-86B9-B4C8-8D2833D0F321}"/>
              </a:ext>
            </a:extLst>
          </p:cNvPr>
          <p:cNvSpPr txBox="1"/>
          <p:nvPr/>
        </p:nvSpPr>
        <p:spPr>
          <a:xfrm>
            <a:off x="165172" y="2489930"/>
            <a:ext cx="12650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pecific humidity </a:t>
            </a:r>
          </a:p>
          <a:p>
            <a:r>
              <a:rPr lang="fr-FR" sz="900" dirty="0"/>
              <a:t>(mass fraction)</a:t>
            </a:r>
            <a:endParaRPr lang="en-US" sz="900" dirty="0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B9F31F52-9608-BB86-9893-38BED56F184C}"/>
              </a:ext>
            </a:extLst>
          </p:cNvPr>
          <p:cNvSpPr txBox="1"/>
          <p:nvPr/>
        </p:nvSpPr>
        <p:spPr>
          <a:xfrm>
            <a:off x="165172" y="2890760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Wind direction</a:t>
            </a:r>
            <a:endParaRPr lang="en-US" sz="1100" dirty="0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9B4B5D21-E691-E3C4-0B5E-673BDC7651A1}"/>
              </a:ext>
            </a:extLst>
          </p:cNvPr>
          <p:cNvSpPr txBox="1"/>
          <p:nvPr/>
        </p:nvSpPr>
        <p:spPr>
          <a:xfrm>
            <a:off x="165172" y="3244398"/>
            <a:ext cx="9733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Max temp </a:t>
            </a:r>
            <a:r>
              <a:rPr lang="fr-FR" sz="1000" dirty="0"/>
              <a:t>(K)</a:t>
            </a:r>
            <a:endParaRPr lang="en-US" sz="1100" dirty="0"/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693348A-91EE-0EFC-5A01-DC84B7156415}"/>
              </a:ext>
            </a:extLst>
          </p:cNvPr>
          <p:cNvSpPr txBox="1"/>
          <p:nvPr/>
        </p:nvSpPr>
        <p:spPr>
          <a:xfrm>
            <a:off x="165172" y="3615733"/>
            <a:ext cx="9476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Min temp </a:t>
            </a:r>
            <a:r>
              <a:rPr lang="fr-FR" sz="1000" dirty="0"/>
              <a:t>(K)</a:t>
            </a:r>
            <a:endParaRPr lang="en-US" sz="1100" dirty="0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D981B2AE-4298-F5CD-971D-EEE58951D80F}"/>
              </a:ext>
            </a:extLst>
          </p:cNvPr>
          <p:cNvSpPr txBox="1"/>
          <p:nvPr/>
        </p:nvSpPr>
        <p:spPr>
          <a:xfrm>
            <a:off x="165172" y="4004765"/>
            <a:ext cx="12506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Wind </a:t>
            </a:r>
            <a:r>
              <a:rPr lang="fr-FR" sz="1100" dirty="0" err="1"/>
              <a:t>velocity</a:t>
            </a:r>
            <a:r>
              <a:rPr lang="fr-FR" sz="1100" dirty="0"/>
              <a:t> </a:t>
            </a:r>
            <a:r>
              <a:rPr lang="fr-FR" sz="900" dirty="0"/>
              <a:t>(ms)</a:t>
            </a:r>
            <a:endParaRPr lang="en-US" sz="1100" dirty="0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9B44170-AC14-B2E5-0D4D-A2B241A0761D}"/>
              </a:ext>
            </a:extLst>
          </p:cNvPr>
          <p:cNvSpPr txBox="1"/>
          <p:nvPr/>
        </p:nvSpPr>
        <p:spPr>
          <a:xfrm>
            <a:off x="165172" y="4305311"/>
            <a:ext cx="114005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Energy release </a:t>
            </a:r>
          </a:p>
          <a:p>
            <a:r>
              <a:rPr lang="en-US" sz="1100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mponent</a:t>
            </a:r>
            <a:endParaRPr lang="en-US" sz="1100" dirty="0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5F40DCD2-4DDE-CB5B-6540-7ACC03F450E9}"/>
              </a:ext>
            </a:extLst>
          </p:cNvPr>
          <p:cNvSpPr txBox="1"/>
          <p:nvPr/>
        </p:nvSpPr>
        <p:spPr>
          <a:xfrm>
            <a:off x="5360411" y="5457643"/>
            <a:ext cx="4335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3-weeks lead (current day + 20 days after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688B5F1-E5ED-1E52-8054-9972FD9C66BC}"/>
              </a:ext>
            </a:extLst>
          </p:cNvPr>
          <p:cNvSpPr txBox="1"/>
          <p:nvPr/>
        </p:nvSpPr>
        <p:spPr>
          <a:xfrm>
            <a:off x="605642" y="1175658"/>
            <a:ext cx="5102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 each fire, get 26 days of data</a:t>
            </a:r>
          </a:p>
        </p:txBody>
      </p:sp>
      <p:pic>
        <p:nvPicPr>
          <p:cNvPr id="1026" name="Picture 2" descr="Google Earth Engine">
            <a:extLst>
              <a:ext uri="{FF2B5EF4-FFF2-40B4-BE49-F238E27FC236}">
                <a16:creationId xmlns:a16="http://schemas.microsoft.com/office/drawing/2014/main" id="{84F68623-D422-2D7C-473F-2CE44CA4E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240" y="1192775"/>
            <a:ext cx="313326" cy="297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01A0EB6-B7D7-9558-0B13-366A4FEA43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55096" y="2088335"/>
            <a:ext cx="9100369" cy="259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395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C3D3E58-8E3A-C0B1-B8E2-FEFE7DB98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45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5BD3206A-D5FB-134F-5511-B0BB369C4675}"/>
              </a:ext>
            </a:extLst>
          </p:cNvPr>
          <p:cNvSpPr/>
          <p:nvPr/>
        </p:nvSpPr>
        <p:spPr>
          <a:xfrm>
            <a:off x="9382389" y="1566140"/>
            <a:ext cx="1174450" cy="4901216"/>
          </a:xfrm>
          <a:prstGeom prst="rect">
            <a:avLst/>
          </a:prstGeom>
          <a:solidFill>
            <a:srgbClr val="82E2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82FA35D-A05C-A4E0-D204-7D0D416A7114}"/>
              </a:ext>
            </a:extLst>
          </p:cNvPr>
          <p:cNvSpPr/>
          <p:nvPr/>
        </p:nvSpPr>
        <p:spPr>
          <a:xfrm>
            <a:off x="1134021" y="5336191"/>
            <a:ext cx="8248143" cy="1131165"/>
          </a:xfrm>
          <a:prstGeom prst="rect">
            <a:avLst/>
          </a:prstGeom>
          <a:solidFill>
            <a:srgbClr val="F2CFEE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4A1ADB-FF4F-C6C5-6BFB-5431ECF1FCAA}"/>
              </a:ext>
            </a:extLst>
          </p:cNvPr>
          <p:cNvSpPr/>
          <p:nvPr/>
        </p:nvSpPr>
        <p:spPr>
          <a:xfrm>
            <a:off x="1134017" y="5326469"/>
            <a:ext cx="1737411" cy="113116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B390D0-913E-4410-3C9A-852650CB2E7E}"/>
              </a:ext>
            </a:extLst>
          </p:cNvPr>
          <p:cNvSpPr/>
          <p:nvPr/>
        </p:nvSpPr>
        <p:spPr>
          <a:xfrm>
            <a:off x="1134022" y="1566140"/>
            <a:ext cx="1742480" cy="3770051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A109F40-7B3A-BAC4-FF4A-BDFD70CF944C}"/>
              </a:ext>
            </a:extLst>
          </p:cNvPr>
          <p:cNvSpPr/>
          <p:nvPr/>
        </p:nvSpPr>
        <p:spPr>
          <a:xfrm>
            <a:off x="2880420" y="3688479"/>
            <a:ext cx="6501748" cy="1647713"/>
          </a:xfrm>
          <a:prstGeom prst="rect">
            <a:avLst/>
          </a:prstGeom>
          <a:solidFill>
            <a:srgbClr val="DCEAF7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5D0B0BB-A8C3-C282-937C-29475F83BB8A}"/>
              </a:ext>
            </a:extLst>
          </p:cNvPr>
          <p:cNvSpPr/>
          <p:nvPr/>
        </p:nvSpPr>
        <p:spPr>
          <a:xfrm>
            <a:off x="2880420" y="1566142"/>
            <a:ext cx="6501747" cy="2134758"/>
          </a:xfrm>
          <a:prstGeom prst="rect">
            <a:avLst/>
          </a:prstGeom>
          <a:solidFill>
            <a:srgbClr val="A6CAE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8" name="Picture 27" descr="A blue cylinder with three layers&#10;&#10;Description automatically generated">
            <a:extLst>
              <a:ext uri="{FF2B5EF4-FFF2-40B4-BE49-F238E27FC236}">
                <a16:creationId xmlns:a16="http://schemas.microsoft.com/office/drawing/2014/main" id="{6F5F6666-8A1F-E770-8034-3A5C16956A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645" y="2394038"/>
            <a:ext cx="381074" cy="38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B77784D-9FE4-9515-7059-F9071FA13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utlimodal</a:t>
            </a: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ataset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87BD4B-AA6F-3A01-CF22-9AC9D57CC56C}"/>
              </a:ext>
            </a:extLst>
          </p:cNvPr>
          <p:cNvSpPr txBox="1"/>
          <p:nvPr/>
        </p:nvSpPr>
        <p:spPr>
          <a:xfrm>
            <a:off x="1235390" y="5445960"/>
            <a:ext cx="16798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Y = next-day </a:t>
            </a:r>
          </a:p>
          <a:p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re area </a:t>
            </a:r>
          </a:p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lue reported in SIT</a:t>
            </a:r>
          </a:p>
        </p:txBody>
      </p:sp>
      <p:pic>
        <p:nvPicPr>
          <p:cNvPr id="1026" name="Picture 2" descr="Google Cloud Storage Connector | Low-Code Google Cloud Storage Integration  | Cyclr">
            <a:extLst>
              <a:ext uri="{FF2B5EF4-FFF2-40B4-BE49-F238E27FC236}">
                <a16:creationId xmlns:a16="http://schemas.microsoft.com/office/drawing/2014/main" id="{1027CF6C-3B72-2688-F4AF-18301C5E7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182" y="2604055"/>
            <a:ext cx="300057" cy="3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5C8A3FF-B992-62DB-5404-A7FE6C2014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338" y="4119075"/>
            <a:ext cx="462071" cy="46207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361103B-EB25-F115-CED1-914C881BC8DA}"/>
              </a:ext>
            </a:extLst>
          </p:cNvPr>
          <p:cNvSpPr txBox="1"/>
          <p:nvPr/>
        </p:nvSpPr>
        <p:spPr>
          <a:xfrm>
            <a:off x="4956659" y="4563690"/>
            <a:ext cx="11375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ports</a:t>
            </a:r>
          </a:p>
        </p:txBody>
      </p:sp>
      <p:pic>
        <p:nvPicPr>
          <p:cNvPr id="22" name="Picture 2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047FAFA-B644-9B2C-3F7E-725BCB40E76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16"/>
          <a:stretch/>
        </p:blipFill>
        <p:spPr>
          <a:xfrm>
            <a:off x="6633576" y="4325827"/>
            <a:ext cx="713485" cy="255319"/>
          </a:xfrm>
          <a:prstGeom prst="rect">
            <a:avLst/>
          </a:prstGeom>
        </p:spPr>
      </p:pic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E2BB342-1FA3-9FE0-C35E-A14DF801D55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16"/>
          <a:stretch/>
        </p:blipFill>
        <p:spPr>
          <a:xfrm>
            <a:off x="7299557" y="4325827"/>
            <a:ext cx="713485" cy="25531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C0C53C1-3009-B067-3BD9-7A0FF30DCC90}"/>
              </a:ext>
            </a:extLst>
          </p:cNvPr>
          <p:cNvSpPr txBox="1"/>
          <p:nvPr/>
        </p:nvSpPr>
        <p:spPr>
          <a:xfrm>
            <a:off x="4658593" y="3349223"/>
            <a:ext cx="17027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ery: (report, day)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DB17828-E46C-6532-0471-B6BE08C7041A}"/>
              </a:ext>
            </a:extLst>
          </p:cNvPr>
          <p:cNvCxnSpPr>
            <a:cxnSpLocks/>
          </p:cNvCxnSpPr>
          <p:nvPr/>
        </p:nvCxnSpPr>
        <p:spPr>
          <a:xfrm>
            <a:off x="5391435" y="3651299"/>
            <a:ext cx="0" cy="31958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9401DBE2-E6BE-DDE3-15B6-02061560ADD3}"/>
              </a:ext>
            </a:extLst>
          </p:cNvPr>
          <p:cNvSpPr txBox="1"/>
          <p:nvPr/>
        </p:nvSpPr>
        <p:spPr>
          <a:xfrm>
            <a:off x="7866125" y="2481270"/>
            <a:ext cx="1410964" cy="2846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5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ape: (7, 64, 64)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34E87867-7F61-AA05-BB28-F55E53A521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83519" y="1760538"/>
            <a:ext cx="242548" cy="1819113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4338332-960B-56D5-9ED9-45148C1A47BF}"/>
              </a:ext>
            </a:extLst>
          </p:cNvPr>
          <p:cNvSpPr txBox="1"/>
          <p:nvPr/>
        </p:nvSpPr>
        <p:spPr>
          <a:xfrm>
            <a:off x="8013601" y="4311984"/>
            <a:ext cx="1029449" cy="2846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5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ape: (51,)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C6F30A81-149C-EEAD-764F-0A9312F74F50}"/>
              </a:ext>
            </a:extLst>
          </p:cNvPr>
          <p:cNvCxnSpPr/>
          <p:nvPr/>
        </p:nvCxnSpPr>
        <p:spPr>
          <a:xfrm>
            <a:off x="5794739" y="2625272"/>
            <a:ext cx="74814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DBDE67D-FCE7-9CC9-400B-F7CDD9850737}"/>
              </a:ext>
            </a:extLst>
          </p:cNvPr>
          <p:cNvCxnSpPr>
            <a:cxnSpLocks/>
          </p:cNvCxnSpPr>
          <p:nvPr/>
        </p:nvCxnSpPr>
        <p:spPr>
          <a:xfrm flipV="1">
            <a:off x="5384430" y="2904112"/>
            <a:ext cx="0" cy="45638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7EACEC8-53A4-BEB9-D872-37F5089D7164}"/>
              </a:ext>
            </a:extLst>
          </p:cNvPr>
          <p:cNvSpPr txBox="1"/>
          <p:nvPr/>
        </p:nvSpPr>
        <p:spPr>
          <a:xfrm>
            <a:off x="6859506" y="1760538"/>
            <a:ext cx="12378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cipitation</a:t>
            </a:r>
            <a:endParaRPr lang="fr-FR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06F650-7A86-9A52-8810-7C50CD6C2C69}"/>
              </a:ext>
            </a:extLst>
          </p:cNvPr>
          <p:cNvSpPr txBox="1"/>
          <p:nvPr/>
        </p:nvSpPr>
        <p:spPr>
          <a:xfrm>
            <a:off x="6859506" y="2012451"/>
            <a:ext cx="12489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cific humidity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4E816E7-278F-5063-0C1D-A82C4B814365}"/>
              </a:ext>
            </a:extLst>
          </p:cNvPr>
          <p:cNvSpPr txBox="1"/>
          <p:nvPr/>
        </p:nvSpPr>
        <p:spPr>
          <a:xfrm>
            <a:off x="6859506" y="2264364"/>
            <a:ext cx="1059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nd direction</a:t>
            </a:r>
            <a:endParaRPr lang="en-US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CC99741-46AF-0166-F25B-F32D3F312013}"/>
              </a:ext>
            </a:extLst>
          </p:cNvPr>
          <p:cNvSpPr txBox="1"/>
          <p:nvPr/>
        </p:nvSpPr>
        <p:spPr>
          <a:xfrm>
            <a:off x="6859506" y="2516277"/>
            <a:ext cx="9608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 temp</a:t>
            </a:r>
            <a:endParaRPr lang="en-US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30B190-4B41-4449-619D-E43401213629}"/>
              </a:ext>
            </a:extLst>
          </p:cNvPr>
          <p:cNvSpPr txBox="1"/>
          <p:nvPr/>
        </p:nvSpPr>
        <p:spPr>
          <a:xfrm>
            <a:off x="6859506" y="2768190"/>
            <a:ext cx="935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n temp</a:t>
            </a:r>
            <a:endParaRPr lang="en-US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24" name="TextBox 1023">
            <a:extLst>
              <a:ext uri="{FF2B5EF4-FFF2-40B4-BE49-F238E27FC236}">
                <a16:creationId xmlns:a16="http://schemas.microsoft.com/office/drawing/2014/main" id="{577C7D77-89B9-3108-8335-43E85657C0A6}"/>
              </a:ext>
            </a:extLst>
          </p:cNvPr>
          <p:cNvSpPr txBox="1"/>
          <p:nvPr/>
        </p:nvSpPr>
        <p:spPr>
          <a:xfrm>
            <a:off x="6859506" y="3020103"/>
            <a:ext cx="12346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ind </a:t>
            </a:r>
            <a:r>
              <a:rPr lang="fr-FR" sz="1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locity</a:t>
            </a:r>
            <a:endParaRPr lang="en-US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C56D2B18-B738-3B7F-FE76-0909D1473BA1}"/>
              </a:ext>
            </a:extLst>
          </p:cNvPr>
          <p:cNvSpPr txBox="1"/>
          <p:nvPr/>
        </p:nvSpPr>
        <p:spPr>
          <a:xfrm>
            <a:off x="6859506" y="3272018"/>
            <a:ext cx="1077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i="0" dirty="0">
                <a:solidFill>
                  <a:srgbClr val="202124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ergy release </a:t>
            </a:r>
          </a:p>
          <a:p>
            <a:r>
              <a:rPr lang="en-US" sz="1000" b="0" i="0" dirty="0">
                <a:solidFill>
                  <a:srgbClr val="202124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onent</a:t>
            </a:r>
            <a:endParaRPr lang="en-US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027" name="Straight Arrow Connector 1026">
            <a:extLst>
              <a:ext uri="{FF2B5EF4-FFF2-40B4-BE49-F238E27FC236}">
                <a16:creationId xmlns:a16="http://schemas.microsoft.com/office/drawing/2014/main" id="{7143F405-CD81-67BB-ED73-210A28F4F54D}"/>
              </a:ext>
            </a:extLst>
          </p:cNvPr>
          <p:cNvCxnSpPr/>
          <p:nvPr/>
        </p:nvCxnSpPr>
        <p:spPr>
          <a:xfrm>
            <a:off x="5794739" y="4454128"/>
            <a:ext cx="74814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28" name="TextBox 1027">
            <a:extLst>
              <a:ext uri="{FF2B5EF4-FFF2-40B4-BE49-F238E27FC236}">
                <a16:creationId xmlns:a16="http://schemas.microsoft.com/office/drawing/2014/main" id="{C768B9F1-A105-835E-0D2E-80883ABEA277}"/>
              </a:ext>
            </a:extLst>
          </p:cNvPr>
          <p:cNvSpPr txBox="1"/>
          <p:nvPr/>
        </p:nvSpPr>
        <p:spPr>
          <a:xfrm>
            <a:off x="6626205" y="4581146"/>
            <a:ext cx="17929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re </a:t>
            </a:r>
            <a:r>
              <a:rPr lang="en-US" sz="1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haviour</a:t>
            </a: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1-hot)</a:t>
            </a:r>
          </a:p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uel type (1-hot)</a:t>
            </a:r>
          </a:p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ppression method (1-hot)</a:t>
            </a:r>
          </a:p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re spread</a:t>
            </a:r>
            <a:endParaRPr lang="fr-FR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31" name="Picture 103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1D69221-CDAD-D64B-7FAB-10C9E3CB443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16" r="66107" b="-3623"/>
          <a:stretch/>
        </p:blipFill>
        <p:spPr>
          <a:xfrm>
            <a:off x="6633576" y="5761582"/>
            <a:ext cx="241819" cy="281165"/>
          </a:xfrm>
          <a:prstGeom prst="rect">
            <a:avLst/>
          </a:prstGeom>
        </p:spPr>
      </p:pic>
      <p:cxnSp>
        <p:nvCxnSpPr>
          <p:cNvPr id="1041" name="Straight Arrow Connector 1040">
            <a:extLst>
              <a:ext uri="{FF2B5EF4-FFF2-40B4-BE49-F238E27FC236}">
                <a16:creationId xmlns:a16="http://schemas.microsoft.com/office/drawing/2014/main" id="{DCDD170E-EC65-300E-BCB2-C751F7208196}"/>
              </a:ext>
            </a:extLst>
          </p:cNvPr>
          <p:cNvCxnSpPr>
            <a:cxnSpLocks/>
          </p:cNvCxnSpPr>
          <p:nvPr/>
        </p:nvCxnSpPr>
        <p:spPr>
          <a:xfrm>
            <a:off x="5396306" y="5884350"/>
            <a:ext cx="1225394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42" name="Straight Connector 1041">
            <a:extLst>
              <a:ext uri="{FF2B5EF4-FFF2-40B4-BE49-F238E27FC236}">
                <a16:creationId xmlns:a16="http://schemas.microsoft.com/office/drawing/2014/main" id="{C8986366-A36D-EA7E-EFB0-3D86943E55B5}"/>
              </a:ext>
            </a:extLst>
          </p:cNvPr>
          <p:cNvCxnSpPr>
            <a:cxnSpLocks/>
          </p:cNvCxnSpPr>
          <p:nvPr/>
        </p:nvCxnSpPr>
        <p:spPr>
          <a:xfrm>
            <a:off x="5384430" y="4935089"/>
            <a:ext cx="0" cy="94926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49" name="TextBox 1048">
            <a:extLst>
              <a:ext uri="{FF2B5EF4-FFF2-40B4-BE49-F238E27FC236}">
                <a16:creationId xmlns:a16="http://schemas.microsoft.com/office/drawing/2014/main" id="{1053F7D1-C777-395A-0A81-5B3289141D66}"/>
              </a:ext>
            </a:extLst>
          </p:cNvPr>
          <p:cNvSpPr txBox="1"/>
          <p:nvPr/>
        </p:nvSpPr>
        <p:spPr>
          <a:xfrm>
            <a:off x="6621700" y="6011827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05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-</a:t>
            </a:r>
            <a:r>
              <a:rPr lang="fr-FR" sz="105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y</a:t>
            </a:r>
            <a:r>
              <a:rPr lang="fr-FR" sz="105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05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re</a:t>
            </a:r>
            <a:r>
              <a:rPr lang="fr-FR" sz="105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spread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68A9B33B-7495-A8C2-7FF8-5FE2D8798970}"/>
              </a:ext>
            </a:extLst>
          </p:cNvPr>
          <p:cNvSpPr txBox="1"/>
          <p:nvPr/>
        </p:nvSpPr>
        <p:spPr>
          <a:xfrm>
            <a:off x="8065699" y="5739412"/>
            <a:ext cx="939681" cy="2846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5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ape: (1,)</a:t>
            </a:r>
          </a:p>
        </p:txBody>
      </p:sp>
      <p:cxnSp>
        <p:nvCxnSpPr>
          <p:cNvPr id="1052" name="Straight Arrow Connector 1051">
            <a:extLst>
              <a:ext uri="{FF2B5EF4-FFF2-40B4-BE49-F238E27FC236}">
                <a16:creationId xmlns:a16="http://schemas.microsoft.com/office/drawing/2014/main" id="{FE5C4D9F-D373-29A7-DA15-71DB2654AA0C}"/>
              </a:ext>
            </a:extLst>
          </p:cNvPr>
          <p:cNvCxnSpPr>
            <a:cxnSpLocks/>
          </p:cNvCxnSpPr>
          <p:nvPr/>
        </p:nvCxnSpPr>
        <p:spPr>
          <a:xfrm flipH="1">
            <a:off x="9968526" y="2594526"/>
            <a:ext cx="6879" cy="152454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54" name="Straight Arrow Connector 1053">
            <a:extLst>
              <a:ext uri="{FF2B5EF4-FFF2-40B4-BE49-F238E27FC236}">
                <a16:creationId xmlns:a16="http://schemas.microsoft.com/office/drawing/2014/main" id="{D10F2022-6F4C-015B-CC1B-22DAD877B0F2}"/>
              </a:ext>
            </a:extLst>
          </p:cNvPr>
          <p:cNvCxnSpPr>
            <a:cxnSpLocks/>
          </p:cNvCxnSpPr>
          <p:nvPr/>
        </p:nvCxnSpPr>
        <p:spPr>
          <a:xfrm flipV="1">
            <a:off x="9959533" y="4764343"/>
            <a:ext cx="0" cy="11058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57" name="Straight Connector 1056">
            <a:extLst>
              <a:ext uri="{FF2B5EF4-FFF2-40B4-BE49-F238E27FC236}">
                <a16:creationId xmlns:a16="http://schemas.microsoft.com/office/drawing/2014/main" id="{73D5D2AB-97DA-B26C-B9FA-766DEEAAF850}"/>
              </a:ext>
            </a:extLst>
          </p:cNvPr>
          <p:cNvCxnSpPr>
            <a:cxnSpLocks/>
          </p:cNvCxnSpPr>
          <p:nvPr/>
        </p:nvCxnSpPr>
        <p:spPr>
          <a:xfrm>
            <a:off x="9021426" y="5870217"/>
            <a:ext cx="947100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59" name="Straight Connector 1058">
            <a:extLst>
              <a:ext uri="{FF2B5EF4-FFF2-40B4-BE49-F238E27FC236}">
                <a16:creationId xmlns:a16="http://schemas.microsoft.com/office/drawing/2014/main" id="{9CE02BD2-2FC5-C551-BF93-0BE85B99538D}"/>
              </a:ext>
            </a:extLst>
          </p:cNvPr>
          <p:cNvCxnSpPr>
            <a:cxnSpLocks/>
          </p:cNvCxnSpPr>
          <p:nvPr/>
        </p:nvCxnSpPr>
        <p:spPr>
          <a:xfrm>
            <a:off x="9179538" y="2604055"/>
            <a:ext cx="795867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073" name="Picture 107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E36D3FB-F231-3DE2-7AC3-70FDDD51D9A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0151" y="4271188"/>
            <a:ext cx="370507" cy="370507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F4F0181-BCE0-272D-95ED-43A54E8B3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245" y="4131676"/>
            <a:ext cx="232096" cy="28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77" name="Straight Arrow Connector 1076">
            <a:extLst>
              <a:ext uri="{FF2B5EF4-FFF2-40B4-BE49-F238E27FC236}">
                <a16:creationId xmlns:a16="http://schemas.microsoft.com/office/drawing/2014/main" id="{2A5975F3-CEA2-4DC0-58BA-4D1666A67DDF}"/>
              </a:ext>
            </a:extLst>
          </p:cNvPr>
          <p:cNvCxnSpPr>
            <a:cxnSpLocks/>
          </p:cNvCxnSpPr>
          <p:nvPr/>
        </p:nvCxnSpPr>
        <p:spPr>
          <a:xfrm>
            <a:off x="9021426" y="4456442"/>
            <a:ext cx="73062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D756B0E-3260-D3DF-DF1A-278FAB3DCA82}"/>
              </a:ext>
            </a:extLst>
          </p:cNvPr>
          <p:cNvSpPr txBox="1"/>
          <p:nvPr/>
        </p:nvSpPr>
        <p:spPr>
          <a:xfrm>
            <a:off x="1235390" y="3296086"/>
            <a:ext cx="1656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X = fire repor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8F256A-C8FA-314F-A5B3-CCD1FFBD1F35}"/>
              </a:ext>
            </a:extLst>
          </p:cNvPr>
          <p:cNvSpPr txBox="1"/>
          <p:nvPr/>
        </p:nvSpPr>
        <p:spPr>
          <a:xfrm>
            <a:off x="3175595" y="2440235"/>
            <a:ext cx="1817036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tellite images</a:t>
            </a:r>
          </a:p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om GEE, stored</a:t>
            </a:r>
          </a:p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 Google Cloud</a:t>
            </a:r>
          </a:p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orag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B34A87-20D4-C1C1-6B40-761AD8B1E2AF}"/>
              </a:ext>
            </a:extLst>
          </p:cNvPr>
          <p:cNvSpPr txBox="1"/>
          <p:nvPr/>
        </p:nvSpPr>
        <p:spPr>
          <a:xfrm>
            <a:off x="3092651" y="4256935"/>
            <a:ext cx="18259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bular features</a:t>
            </a:r>
          </a:p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T 209</a:t>
            </a:r>
          </a:p>
        </p:txBody>
      </p:sp>
    </p:spTree>
    <p:extLst>
      <p:ext uri="{BB962C8B-B14F-4D97-AF65-F5344CB8AC3E}">
        <p14:creationId xmlns:p14="http://schemas.microsoft.com/office/powerpoint/2010/main" val="3471378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652619-5FD4-BA33-9FE7-B5315A4144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84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1E41827C-C08C-E10F-E9D7-B56A994C8411}"/>
              </a:ext>
            </a:extLst>
          </p:cNvPr>
          <p:cNvSpPr/>
          <p:nvPr/>
        </p:nvSpPr>
        <p:spPr>
          <a:xfrm>
            <a:off x="1571861" y="1647602"/>
            <a:ext cx="1174450" cy="4409209"/>
          </a:xfrm>
          <a:prstGeom prst="rect">
            <a:avLst/>
          </a:prstGeom>
          <a:solidFill>
            <a:srgbClr val="82E28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8FC4C7-5B15-4ED4-5C6F-EC1A19460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ultimodal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148A06-41FA-C641-3BBF-4FA30A6F27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1370" y="2033094"/>
            <a:ext cx="242548" cy="18191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A801A47-9AC3-913E-8664-96A34CAAFB57}"/>
              </a:ext>
            </a:extLst>
          </p:cNvPr>
          <p:cNvSpPr txBox="1"/>
          <p:nvPr/>
        </p:nvSpPr>
        <p:spPr>
          <a:xfrm>
            <a:off x="4127357" y="2033094"/>
            <a:ext cx="12378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recipitation</a:t>
            </a:r>
            <a:endParaRPr lang="fr-FR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D55FFC-B7ED-6861-4AAB-5AB46FF8CDEC}"/>
              </a:ext>
            </a:extLst>
          </p:cNvPr>
          <p:cNvSpPr txBox="1"/>
          <p:nvPr/>
        </p:nvSpPr>
        <p:spPr>
          <a:xfrm>
            <a:off x="4127357" y="2285007"/>
            <a:ext cx="12489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pecific humidity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56ED3F-1A49-57DE-9118-D0822F691959}"/>
              </a:ext>
            </a:extLst>
          </p:cNvPr>
          <p:cNvSpPr txBox="1"/>
          <p:nvPr/>
        </p:nvSpPr>
        <p:spPr>
          <a:xfrm>
            <a:off x="4127357" y="2536920"/>
            <a:ext cx="1059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Wind direction</a:t>
            </a:r>
            <a:endParaRPr lang="en-US" sz="1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99129-31A7-DA66-0D8C-7CCABCF41D01}"/>
              </a:ext>
            </a:extLst>
          </p:cNvPr>
          <p:cNvSpPr txBox="1"/>
          <p:nvPr/>
        </p:nvSpPr>
        <p:spPr>
          <a:xfrm>
            <a:off x="4127357" y="2788833"/>
            <a:ext cx="9608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Max temp</a:t>
            </a:r>
            <a:endParaRPr lang="en-US" sz="1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8B3A85-A811-6BF9-A2B4-DA8B69588A80}"/>
              </a:ext>
            </a:extLst>
          </p:cNvPr>
          <p:cNvSpPr txBox="1"/>
          <p:nvPr/>
        </p:nvSpPr>
        <p:spPr>
          <a:xfrm>
            <a:off x="4127357" y="3040746"/>
            <a:ext cx="935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Min temp</a:t>
            </a:r>
            <a:endParaRPr lang="en-US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988E74-DB99-8351-DE1E-655626C0C8A7}"/>
              </a:ext>
            </a:extLst>
          </p:cNvPr>
          <p:cNvSpPr txBox="1"/>
          <p:nvPr/>
        </p:nvSpPr>
        <p:spPr>
          <a:xfrm>
            <a:off x="4127357" y="3292659"/>
            <a:ext cx="12346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Wind </a:t>
            </a:r>
            <a:r>
              <a:rPr lang="fr-FR" sz="1000" dirty="0" err="1"/>
              <a:t>velocity</a:t>
            </a:r>
            <a:endParaRPr lang="en-US" sz="1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009B5A2-E917-A192-521B-2F7DB1B36DD1}"/>
              </a:ext>
            </a:extLst>
          </p:cNvPr>
          <p:cNvSpPr txBox="1"/>
          <p:nvPr/>
        </p:nvSpPr>
        <p:spPr>
          <a:xfrm>
            <a:off x="4127357" y="3544574"/>
            <a:ext cx="1077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Energy release </a:t>
            </a:r>
          </a:p>
          <a:p>
            <a:r>
              <a:rPr lang="en-US" sz="1000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mponent</a:t>
            </a:r>
            <a:endParaRPr lang="en-US" sz="1000" dirty="0"/>
          </a:p>
        </p:txBody>
      </p:sp>
      <p:pic>
        <p:nvPicPr>
          <p:cNvPr id="14" name="Picture 1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0BEBBE3-8241-8EB9-63D8-60970D7C9B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6162" y="3674024"/>
            <a:ext cx="418152" cy="418152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E8E84798-C699-7AF9-D01D-49CA92C77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107" y="3538880"/>
            <a:ext cx="261942" cy="317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C4DFF7FA-D28E-AE66-57F3-7E4C9272F11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16"/>
          <a:stretch/>
        </p:blipFill>
        <p:spPr>
          <a:xfrm>
            <a:off x="3729862" y="4806309"/>
            <a:ext cx="879112" cy="314588"/>
          </a:xfrm>
          <a:prstGeom prst="rect">
            <a:avLst/>
          </a:prstGeom>
        </p:spPr>
      </p:pic>
      <p:pic>
        <p:nvPicPr>
          <p:cNvPr id="17" name="Picture 1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DDFCA0F-C542-843F-4856-D838A799A3E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16"/>
          <a:stretch/>
        </p:blipFill>
        <p:spPr>
          <a:xfrm>
            <a:off x="4544288" y="4806309"/>
            <a:ext cx="879112" cy="31458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E04D79D-4EB3-1A5A-A8BB-03F91A4DF85C}"/>
              </a:ext>
            </a:extLst>
          </p:cNvPr>
          <p:cNvSpPr txBox="1"/>
          <p:nvPr/>
        </p:nvSpPr>
        <p:spPr>
          <a:xfrm>
            <a:off x="3727797" y="5120896"/>
            <a:ext cx="17929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Fire </a:t>
            </a:r>
            <a:r>
              <a:rPr lang="en-US" sz="1000" dirty="0" err="1"/>
              <a:t>behaviour</a:t>
            </a:r>
            <a:r>
              <a:rPr lang="en-US" sz="1000" dirty="0"/>
              <a:t> (1-hot)</a:t>
            </a:r>
          </a:p>
          <a:p>
            <a:r>
              <a:rPr lang="en-US" sz="1000" dirty="0"/>
              <a:t>Fuel type (1-hot)</a:t>
            </a:r>
          </a:p>
          <a:p>
            <a:r>
              <a:rPr lang="en-US" sz="1000" dirty="0"/>
              <a:t>Suppression method (1-hot)</a:t>
            </a:r>
          </a:p>
          <a:p>
            <a:r>
              <a:rPr lang="en-US" sz="1000" dirty="0"/>
              <a:t>Fire spread</a:t>
            </a:r>
            <a:endParaRPr lang="fr-FR" sz="1000" dirty="0"/>
          </a:p>
        </p:txBody>
      </p:sp>
      <p:sp>
        <p:nvSpPr>
          <p:cNvPr id="19" name="Flowchart: Manual Operation 18">
            <a:extLst>
              <a:ext uri="{FF2B5EF4-FFF2-40B4-BE49-F238E27FC236}">
                <a16:creationId xmlns:a16="http://schemas.microsoft.com/office/drawing/2014/main" id="{1F9276A2-9E94-AC77-5F83-DEB410941719}"/>
              </a:ext>
            </a:extLst>
          </p:cNvPr>
          <p:cNvSpPr/>
          <p:nvPr/>
        </p:nvSpPr>
        <p:spPr>
          <a:xfrm rot="16200000">
            <a:off x="6019327" y="2387896"/>
            <a:ext cx="1059016" cy="1059014"/>
          </a:xfrm>
          <a:prstGeom prst="flowChartManualOperation">
            <a:avLst/>
          </a:prstGeom>
          <a:solidFill>
            <a:srgbClr val="433B8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71E67A3-10F4-A3DB-EDC0-DC1CE8DC0E7A}"/>
              </a:ext>
            </a:extLst>
          </p:cNvPr>
          <p:cNvSpPr txBox="1"/>
          <p:nvPr/>
        </p:nvSpPr>
        <p:spPr>
          <a:xfrm>
            <a:off x="5965575" y="2727277"/>
            <a:ext cx="2131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efficientNe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7358FB-2F86-1B7F-5870-F65ECFDFDFED}"/>
              </a:ext>
            </a:extLst>
          </p:cNvPr>
          <p:cNvSpPr txBox="1"/>
          <p:nvPr/>
        </p:nvSpPr>
        <p:spPr>
          <a:xfrm>
            <a:off x="5423400" y="2102955"/>
            <a:ext cx="1719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(7, 64, 64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333A9D7-C419-EEB7-CDDD-B25FEF9E54C5}"/>
              </a:ext>
            </a:extLst>
          </p:cNvPr>
          <p:cNvSpPr txBox="1"/>
          <p:nvPr/>
        </p:nvSpPr>
        <p:spPr>
          <a:xfrm>
            <a:off x="7417854" y="2996552"/>
            <a:ext cx="1719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(128+8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5CDC655-26F7-52CF-B7F3-B2DD0A8B6DFE}"/>
              </a:ext>
            </a:extLst>
          </p:cNvPr>
          <p:cNvSpPr txBox="1"/>
          <p:nvPr/>
        </p:nvSpPr>
        <p:spPr>
          <a:xfrm>
            <a:off x="7005458" y="2321055"/>
            <a:ext cx="1719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(128)</a:t>
            </a:r>
          </a:p>
        </p:txBody>
      </p:sp>
      <p:sp>
        <p:nvSpPr>
          <p:cNvPr id="25" name="Flowchart: Manual Operation 24">
            <a:extLst>
              <a:ext uri="{FF2B5EF4-FFF2-40B4-BE49-F238E27FC236}">
                <a16:creationId xmlns:a16="http://schemas.microsoft.com/office/drawing/2014/main" id="{5CAF8E9B-462A-E914-F1E9-8C254A824307}"/>
              </a:ext>
            </a:extLst>
          </p:cNvPr>
          <p:cNvSpPr/>
          <p:nvPr/>
        </p:nvSpPr>
        <p:spPr>
          <a:xfrm rot="16200000">
            <a:off x="6036957" y="4463729"/>
            <a:ext cx="1059016" cy="1059014"/>
          </a:xfrm>
          <a:prstGeom prst="flowChartManualOperation">
            <a:avLst/>
          </a:prstGeom>
          <a:solidFill>
            <a:srgbClr val="433B8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23F683-A63D-2983-A738-ACE50FF06FA5}"/>
              </a:ext>
            </a:extLst>
          </p:cNvPr>
          <p:cNvSpPr txBox="1"/>
          <p:nvPr/>
        </p:nvSpPr>
        <p:spPr>
          <a:xfrm>
            <a:off x="6249003" y="4736810"/>
            <a:ext cx="21316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FFN</a:t>
            </a:r>
          </a:p>
          <a:p>
            <a:r>
              <a:rPr lang="en-US" sz="1400" dirty="0">
                <a:solidFill>
                  <a:schemeClr val="bg1"/>
                </a:solidFill>
              </a:rPr>
              <a:t>L=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D11CDF5-2AAF-58CE-F1B6-B23E5CCD5CDE}"/>
              </a:ext>
            </a:extLst>
          </p:cNvPr>
          <p:cNvSpPr txBox="1"/>
          <p:nvPr/>
        </p:nvSpPr>
        <p:spPr>
          <a:xfrm>
            <a:off x="5601260" y="4263432"/>
            <a:ext cx="1719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(49)</a:t>
            </a:r>
          </a:p>
        </p:txBody>
      </p:sp>
      <p:sp>
        <p:nvSpPr>
          <p:cNvPr id="28" name="Flowchart: Manual Operation 27">
            <a:extLst>
              <a:ext uri="{FF2B5EF4-FFF2-40B4-BE49-F238E27FC236}">
                <a16:creationId xmlns:a16="http://schemas.microsoft.com/office/drawing/2014/main" id="{3D44440F-D811-0757-0362-6E98A64CEFFA}"/>
              </a:ext>
            </a:extLst>
          </p:cNvPr>
          <p:cNvSpPr/>
          <p:nvPr/>
        </p:nvSpPr>
        <p:spPr>
          <a:xfrm rot="16200000">
            <a:off x="7815275" y="3406127"/>
            <a:ext cx="1579085" cy="1059014"/>
          </a:xfrm>
          <a:prstGeom prst="flowChartManualOperation">
            <a:avLst/>
          </a:prstGeom>
          <a:solidFill>
            <a:srgbClr val="433B8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16CAC3E-BD16-C235-4F4D-7D23913457B9}"/>
              </a:ext>
            </a:extLst>
          </p:cNvPr>
          <p:cNvSpPr txBox="1"/>
          <p:nvPr/>
        </p:nvSpPr>
        <p:spPr>
          <a:xfrm>
            <a:off x="8277704" y="3674024"/>
            <a:ext cx="21316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FFN</a:t>
            </a:r>
          </a:p>
          <a:p>
            <a:r>
              <a:rPr lang="en-US" sz="1400" dirty="0">
                <a:solidFill>
                  <a:schemeClr val="bg1"/>
                </a:solidFill>
              </a:rPr>
              <a:t>L=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0F63058-F8F1-7469-A5C9-CB5041A4164A}"/>
              </a:ext>
            </a:extLst>
          </p:cNvPr>
          <p:cNvSpPr txBox="1"/>
          <p:nvPr/>
        </p:nvSpPr>
        <p:spPr>
          <a:xfrm>
            <a:off x="7055136" y="4475987"/>
            <a:ext cx="1719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(8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A50CED-5451-5FB2-E1D7-FA9F19212BA4}"/>
              </a:ext>
            </a:extLst>
          </p:cNvPr>
          <p:cNvSpPr txBox="1"/>
          <p:nvPr/>
        </p:nvSpPr>
        <p:spPr>
          <a:xfrm>
            <a:off x="9171711" y="3350276"/>
            <a:ext cx="1719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(1)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1A705CB-4CD3-1E49-E0F4-439C73EB3619}"/>
              </a:ext>
            </a:extLst>
          </p:cNvPr>
          <p:cNvCxnSpPr/>
          <p:nvPr/>
        </p:nvCxnSpPr>
        <p:spPr>
          <a:xfrm>
            <a:off x="2949781" y="2942650"/>
            <a:ext cx="68876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71100FE4-5291-7A1D-5A35-4452FEEC4B7E}"/>
              </a:ext>
            </a:extLst>
          </p:cNvPr>
          <p:cNvCxnSpPr/>
          <p:nvPr/>
        </p:nvCxnSpPr>
        <p:spPr>
          <a:xfrm>
            <a:off x="2949780" y="5103981"/>
            <a:ext cx="68876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0688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593605E-BB46-6F3C-1F76-E4B9DDA62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317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D1ABB1-1B92-FA7A-B24B-823360159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ble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B8C255-7A9F-8682-EB15-8A352E8B76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rget: skewed, biased, noisy</a:t>
            </a:r>
          </a:p>
          <a:p>
            <a:r>
              <a:rPr lang="en-US" dirty="0"/>
              <a:t>Features: </a:t>
            </a:r>
          </a:p>
          <a:p>
            <a:pPr lvl="1"/>
            <a:r>
              <a:rPr lang="en-US" sz="2000" dirty="0"/>
              <a:t>1. Tabular data: biased</a:t>
            </a:r>
          </a:p>
          <a:p>
            <a:pPr lvl="1"/>
            <a:r>
              <a:rPr lang="en-US" sz="2000" dirty="0"/>
              <a:t>2. Satellite images: missing images, no interpolation, noise</a:t>
            </a:r>
          </a:p>
          <a:p>
            <a:r>
              <a:rPr lang="en-US" dirty="0"/>
              <a:t>Model:</a:t>
            </a:r>
          </a:p>
          <a:p>
            <a:pPr lvl="1"/>
            <a:r>
              <a:rPr lang="en-US" sz="2000" dirty="0"/>
              <a:t>How many layers to freeze? (0 -&gt; fully-retrained)</a:t>
            </a:r>
          </a:p>
        </p:txBody>
      </p:sp>
    </p:spTree>
    <p:extLst>
      <p:ext uri="{BB962C8B-B14F-4D97-AF65-F5344CB8AC3E}">
        <p14:creationId xmlns:p14="http://schemas.microsoft.com/office/powerpoint/2010/main" val="2742590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F39349-E4AA-38E6-5F0B-995EFBE9D7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051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C2161C-5D99-078D-DBF1-C1DA1F313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endix: Targe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9AEC989-90F4-014A-FB35-D3FD08057B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5753464" y="3771679"/>
            <a:ext cx="3627256" cy="2530368"/>
          </a:xfr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8E6A777E-E9A1-7F41-EC74-3C3944969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664" y="1358025"/>
            <a:ext cx="3364318" cy="239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6B66FFB6-1831-A1A5-C233-370E469F7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468" y="1358025"/>
            <a:ext cx="3364318" cy="2395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BA63B72-24FB-30AA-73C2-58A5E8DAA081}"/>
              </a:ext>
            </a:extLst>
          </p:cNvPr>
          <p:cNvSpPr txBox="1"/>
          <p:nvPr/>
        </p:nvSpPr>
        <p:spPr>
          <a:xfrm>
            <a:off x="6604000" y="6227298"/>
            <a:ext cx="27241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atio : day/day before</a:t>
            </a: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29A5C43-AE70-1591-C193-2C6745F34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602" y="3753652"/>
            <a:ext cx="3448050" cy="245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A367C3F-7282-9FD6-A09B-3C38EF51444F}"/>
              </a:ext>
            </a:extLst>
          </p:cNvPr>
          <p:cNvSpPr txBox="1"/>
          <p:nvPr/>
        </p:nvSpPr>
        <p:spPr>
          <a:xfrm>
            <a:off x="2643506" y="6227298"/>
            <a:ext cx="26088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Log(1+diff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750DDB-FABA-17DE-84CD-3C91E52D1D32}"/>
              </a:ext>
            </a:extLst>
          </p:cNvPr>
          <p:cNvSpPr txBox="1"/>
          <p:nvPr/>
        </p:nvSpPr>
        <p:spPr>
          <a:xfrm>
            <a:off x="732156" y="2269518"/>
            <a:ext cx="26088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ifference</a:t>
            </a:r>
          </a:p>
        </p:txBody>
      </p:sp>
    </p:spTree>
    <p:extLst>
      <p:ext uri="{BB962C8B-B14F-4D97-AF65-F5344CB8AC3E}">
        <p14:creationId xmlns:p14="http://schemas.microsoft.com/office/powerpoint/2010/main" val="1533901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E5F41B4-968A-9B2E-50CC-2F0105F3A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3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E7FB01-05B4-A61C-4A8B-7C6654C8E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atelite</a:t>
            </a:r>
            <a:r>
              <a:rPr lang="en-US" dirty="0"/>
              <a:t> imag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014AC2F-E1D2-FCC4-33FA-F9EC1AC117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539609" y="1863436"/>
            <a:ext cx="3901656" cy="3932240"/>
          </a:xfr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D516A5C-D7CA-D9E8-DCE2-8E6FFEF8B8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9086" y="553442"/>
            <a:ext cx="4842477" cy="29557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0EC037A-7F70-B630-7E99-51B25B808A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8089" y="3661571"/>
            <a:ext cx="6130113" cy="283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8378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31F8E5-9B09-835B-156B-68BBA250FE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579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83CA88-17A4-2647-5AB9-A58DDE60C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o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E64685-061B-4676-0210-DD9EAF18EC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1870"/>
            <a:ext cx="10081161" cy="4604862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b="1" dirty="0"/>
              <a:t>Model</a:t>
            </a:r>
          </a:p>
          <a:p>
            <a:pPr marL="514350" indent="-514350">
              <a:buAutoNum type="arabicPeriod"/>
            </a:pPr>
            <a:r>
              <a:rPr lang="en-US" dirty="0"/>
              <a:t>Ablation study: just features =&gt; test relative: </a:t>
            </a:r>
          </a:p>
          <a:p>
            <a:pPr marL="971550" lvl="1" indent="-514350">
              <a:buAutoNum type="arabicPeriod"/>
            </a:pPr>
            <a:r>
              <a:rPr lang="en-US" dirty="0"/>
              <a:t>Create exp class: use </a:t>
            </a:r>
            <a:r>
              <a:rPr lang="en-US" dirty="0" err="1"/>
              <a:t>args</a:t>
            </a:r>
            <a:r>
              <a:rPr lang="en-US" dirty="0"/>
              <a:t> for </a:t>
            </a:r>
            <a:r>
              <a:rPr lang="en-US" dirty="0" err="1"/>
              <a:t>rel</a:t>
            </a:r>
            <a:r>
              <a:rPr lang="en-US" dirty="0"/>
              <a:t>/abs growth, multimodal, log distribution</a:t>
            </a:r>
          </a:p>
          <a:p>
            <a:pPr marL="0" indent="0">
              <a:buNone/>
            </a:pPr>
            <a:r>
              <a:rPr lang="en-US" dirty="0"/>
              <a:t>2. Model with 2 </a:t>
            </a:r>
            <a:r>
              <a:rPr lang="en-US" dirty="0" err="1"/>
              <a:t>unfreezed</a:t>
            </a:r>
            <a:r>
              <a:rPr lang="en-US" dirty="0"/>
              <a:t> layers, Lr=3e-4, 5e-5</a:t>
            </a:r>
          </a:p>
          <a:p>
            <a:pPr marL="0" indent="0">
              <a:buNone/>
            </a:pPr>
            <a:r>
              <a:rPr lang="en-US" dirty="0"/>
              <a:t>Log distribution-&gt; create 3-5 classes</a:t>
            </a:r>
          </a:p>
          <a:p>
            <a:pPr marL="0" indent="0">
              <a:buNone/>
            </a:pPr>
            <a:r>
              <a:rPr lang="en-US" dirty="0"/>
              <a:t>3. Relative vs absolute growth</a:t>
            </a:r>
          </a:p>
          <a:p>
            <a:pPr marL="0" indent="0">
              <a:buNone/>
            </a:pPr>
            <a:r>
              <a:rPr lang="en-US" dirty="0"/>
              <a:t>4. Only train with non-zeros report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Data</a:t>
            </a:r>
          </a:p>
          <a:p>
            <a:pPr marL="514350" indent="-514350">
              <a:buAutoNum type="arabicPeriod"/>
            </a:pPr>
            <a:r>
              <a:rPr lang="en-US" dirty="0"/>
              <a:t>Download 1000 -&gt;n</a:t>
            </a:r>
          </a:p>
          <a:p>
            <a:pPr marL="0" indent="0">
              <a:buNone/>
            </a:pPr>
            <a:r>
              <a:rPr lang="en-US" dirty="0"/>
              <a:t>2. Target</a:t>
            </a:r>
          </a:p>
          <a:p>
            <a:pPr marL="0" indent="0">
              <a:buNone/>
            </a:pPr>
            <a:r>
              <a:rPr lang="en-US" dirty="0"/>
              <a:t>3. interpolation</a:t>
            </a:r>
          </a:p>
          <a:p>
            <a:pPr marL="514350" indent="-514350">
              <a:buAutoNum type="arabicPeriod"/>
            </a:pPr>
            <a:endParaRPr lang="en-US" dirty="0"/>
          </a:p>
          <a:p>
            <a:pPr marL="514350" indent="-514350"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514350" indent="-514350"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3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1</TotalTime>
  <Words>383</Words>
  <Application>Microsoft Office PowerPoint</Application>
  <PresentationFormat>Widescreen</PresentationFormat>
  <Paragraphs>109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ptos</vt:lpstr>
      <vt:lpstr>Aptos Display</vt:lpstr>
      <vt:lpstr>Arial</vt:lpstr>
      <vt:lpstr>Lato</vt:lpstr>
      <vt:lpstr>Roboto</vt:lpstr>
      <vt:lpstr>Office Theme</vt:lpstr>
      <vt:lpstr>think-cell Slide</vt:lpstr>
      <vt:lpstr>Wildfire-lab</vt:lpstr>
      <vt:lpstr>Google: predicting next-day fire masks</vt:lpstr>
      <vt:lpstr>Satellite Weather Data Extraction</vt:lpstr>
      <vt:lpstr>Mutlimodal Dataset </vt:lpstr>
      <vt:lpstr>Multimodal model</vt:lpstr>
      <vt:lpstr>Problems</vt:lpstr>
      <vt:lpstr>Appendix: Target</vt:lpstr>
      <vt:lpstr>Satelite images</vt:lpstr>
      <vt:lpstr>No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njamin Rio (Student at CentraleSupelec)</dc:creator>
  <cp:lastModifiedBy>Benjamin Rio</cp:lastModifiedBy>
  <cp:revision>6</cp:revision>
  <dcterms:created xsi:type="dcterms:W3CDTF">2024-03-14T13:46:22Z</dcterms:created>
  <dcterms:modified xsi:type="dcterms:W3CDTF">2024-04-10T12:59:29Z</dcterms:modified>
</cp:coreProperties>
</file>